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  <p:sldMasterId id="2147483766" r:id="rId5"/>
    <p:sldMasterId id="2147483770" r:id="rId6"/>
  </p:sldMasterIdLst>
  <p:notesMasterIdLst>
    <p:notesMasterId r:id="rId31"/>
  </p:notesMasterIdLst>
  <p:handoutMasterIdLst>
    <p:handoutMasterId r:id="rId32"/>
  </p:handoutMasterIdLst>
  <p:sldIdLst>
    <p:sldId id="256" r:id="rId7"/>
    <p:sldId id="258" r:id="rId8"/>
    <p:sldId id="259" r:id="rId9"/>
    <p:sldId id="260" r:id="rId10"/>
    <p:sldId id="261" r:id="rId11"/>
    <p:sldId id="28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70" r:id="rId20"/>
    <p:sldId id="269" r:id="rId21"/>
    <p:sldId id="271" r:id="rId22"/>
    <p:sldId id="272" r:id="rId23"/>
    <p:sldId id="283" r:id="rId24"/>
    <p:sldId id="285" r:id="rId25"/>
    <p:sldId id="286" r:id="rId26"/>
    <p:sldId id="275" r:id="rId27"/>
    <p:sldId id="280" r:id="rId28"/>
    <p:sldId id="288" r:id="rId29"/>
    <p:sldId id="277" r:id="rId30"/>
  </p:sldIdLst>
  <p:sldSz cx="12192000" cy="6858000"/>
  <p:notesSz cx="6858000" cy="91440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oduction" id="{17088C35-8AC3-4C14-B105-23A600E22F03}">
          <p14:sldIdLst>
            <p14:sldId id="256"/>
            <p14:sldId id="258"/>
            <p14:sldId id="259"/>
            <p14:sldId id="260"/>
            <p14:sldId id="261"/>
          </p14:sldIdLst>
        </p14:section>
        <p14:section name="Git is an onion" id="{CF5136C9-936B-4455-949A-455A0A4341B6}">
          <p14:sldIdLst>
            <p14:sldId id="281"/>
            <p14:sldId id="262"/>
            <p14:sldId id="263"/>
            <p14:sldId id="264"/>
            <p14:sldId id="265"/>
          </p14:sldIdLst>
        </p14:section>
        <p14:section name="Meet SHA1" id="{321C46E0-5C50-479B-9961-08520B6C61B8}">
          <p14:sldIdLst>
            <p14:sldId id="266"/>
            <p14:sldId id="267"/>
            <p14:sldId id="268"/>
            <p14:sldId id="270"/>
            <p14:sldId id="269"/>
          </p14:sldIdLst>
        </p14:section>
        <p14:section name="Storing things" id="{ECBE8D0D-BA5B-4E7C-8F31-E16F3E56E3DF}">
          <p14:sldIdLst>
            <p14:sldId id="271"/>
          </p14:sldIdLst>
        </p14:section>
        <p14:section name="First commit" id="{91D9DA27-3371-4407-87B0-CA2701CFB74E}">
          <p14:sldIdLst>
            <p14:sldId id="272"/>
            <p14:sldId id="283"/>
          </p14:sldIdLst>
        </p14:section>
        <p14:section name="Versioning made easy" id="{9A8ADDF9-28FD-4D6F-A338-94E47C5CF5D4}">
          <p14:sldIdLst>
            <p14:sldId id="285"/>
          </p14:sldIdLst>
        </p14:section>
        <p14:section name="Annotated tags" id="{D74666B1-F6C6-41B3-84A9-6827651C4756}">
          <p14:sldIdLst>
            <p14:sldId id="286"/>
            <p14:sldId id="275"/>
          </p14:sldIdLst>
        </p14:section>
        <p14:section name="What Git really is" id="{56546FE1-B095-4F76-A6AA-9E5298E14BFB}">
          <p14:sldIdLst>
            <p14:sldId id="280"/>
            <p14:sldId id="288"/>
            <p14:sldId id="2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 userDrawn="1">
          <p15:clr>
            <a:srgbClr val="A4A3A4"/>
          </p15:clr>
        </p15:guide>
        <p15:guide id="2" orient="horz" pos="4226" userDrawn="1">
          <p15:clr>
            <a:srgbClr val="A4A3A4"/>
          </p15:clr>
        </p15:guide>
        <p15:guide id="3" orient="horz" pos="386" userDrawn="1">
          <p15:clr>
            <a:srgbClr val="A4A3A4"/>
          </p15:clr>
        </p15:guide>
        <p15:guide id="4" orient="horz" pos="989" userDrawn="1">
          <p15:clr>
            <a:srgbClr val="A4A3A4"/>
          </p15:clr>
        </p15:guide>
        <p15:guide id="5" orient="horz" pos="4082" userDrawn="1">
          <p15:clr>
            <a:srgbClr val="A4A3A4"/>
          </p15:clr>
        </p15:guide>
        <p15:guide id="6" orient="horz" pos="4246" userDrawn="1">
          <p15:clr>
            <a:srgbClr val="A4A3A4"/>
          </p15:clr>
        </p15:guide>
        <p15:guide id="7" orient="horz" pos="2326" userDrawn="1">
          <p15:clr>
            <a:srgbClr val="A4A3A4"/>
          </p15:clr>
        </p15:guide>
        <p15:guide id="8" orient="horz" pos="3805" userDrawn="1">
          <p15:clr>
            <a:srgbClr val="A4A3A4"/>
          </p15:clr>
        </p15:guide>
        <p15:guide id="9" orient="horz" pos="3648" userDrawn="1">
          <p15:clr>
            <a:srgbClr val="A4A3A4"/>
          </p15:clr>
        </p15:guide>
        <p15:guide id="10" orient="horz" pos="629" userDrawn="1">
          <p15:clr>
            <a:srgbClr val="A4A3A4"/>
          </p15:clr>
        </p15:guide>
        <p15:guide id="11" orient="horz" pos="4119" userDrawn="1">
          <p15:clr>
            <a:srgbClr val="A4A3A4"/>
          </p15:clr>
        </p15:guide>
        <p15:guide id="12" orient="horz" pos="4177" userDrawn="1">
          <p15:clr>
            <a:srgbClr val="A4A3A4"/>
          </p15:clr>
        </p15:guide>
        <p15:guide id="13" orient="horz" pos="1301" userDrawn="1">
          <p15:clr>
            <a:srgbClr val="A4A3A4"/>
          </p15:clr>
        </p15:guide>
        <p15:guide id="14" orient="horz" pos="2800" userDrawn="1">
          <p15:clr>
            <a:srgbClr val="A4A3A4"/>
          </p15:clr>
        </p15:guide>
        <p15:guide id="15" pos="3840" userDrawn="1">
          <p15:clr>
            <a:srgbClr val="A4A3A4"/>
          </p15:clr>
        </p15:guide>
        <p15:guide id="16" pos="7469" userDrawn="1">
          <p15:clr>
            <a:srgbClr val="A4A3A4"/>
          </p15:clr>
        </p15:guide>
        <p15:guide id="17" pos="304" userDrawn="1">
          <p15:clr>
            <a:srgbClr val="A4A3A4"/>
          </p15:clr>
        </p15:guide>
        <p15:guide id="18" pos="7392" userDrawn="1">
          <p15:clr>
            <a:srgbClr val="A4A3A4"/>
          </p15:clr>
        </p15:guide>
        <p15:guide id="19" pos="619" userDrawn="1">
          <p15:clr>
            <a:srgbClr val="A4A3A4"/>
          </p15:clr>
        </p15:guide>
        <p15:guide id="20" pos="207" userDrawn="1">
          <p15:clr>
            <a:srgbClr val="A4A3A4"/>
          </p15:clr>
        </p15:guide>
        <p15:guide id="21" pos="4001" userDrawn="1">
          <p15:clr>
            <a:srgbClr val="A4A3A4"/>
          </p15:clr>
        </p15:guide>
        <p15:guide id="22" pos="7063" userDrawn="1">
          <p15:clr>
            <a:srgbClr val="A4A3A4"/>
          </p15:clr>
        </p15:guide>
        <p15:guide id="23" pos="504" userDrawn="1">
          <p15:clr>
            <a:srgbClr val="A4A3A4"/>
          </p15:clr>
        </p15:guide>
        <p15:guide id="24" pos="36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zade, Clement" initials="SC" lastIdx="1" clrIdx="0">
    <p:extLst/>
  </p:cmAuthor>
  <p:cmAuthor id="2" name="D'ENFERT Antonin" initials="DA" lastIdx="2" clrIdx="1">
    <p:extLst>
      <p:ext uri="{19B8F6BF-5375-455C-9EA6-DF929625EA0E}">
        <p15:presenceInfo xmlns:p15="http://schemas.microsoft.com/office/powerpoint/2012/main" userId="D'ENFERT Antonin" providerId="None"/>
      </p:ext>
    </p:extLst>
  </p:cmAuthor>
  <p:cmAuthor id="3" name="MOURET Thomas" initials="MT" lastIdx="3" clrIdx="2">
    <p:extLst>
      <p:ext uri="{19B8F6BF-5375-455C-9EA6-DF929625EA0E}">
        <p15:presenceInfo xmlns:p15="http://schemas.microsoft.com/office/powerpoint/2012/main" userId="MOURET Thom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AFAF"/>
    <a:srgbClr val="0079D6"/>
    <a:srgbClr val="FF6600"/>
    <a:srgbClr val="4B5A61"/>
    <a:srgbClr val="D66571"/>
    <a:srgbClr val="A6A6A6"/>
    <a:srgbClr val="C3C4C4"/>
    <a:srgbClr val="00A1FF"/>
    <a:srgbClr val="637680"/>
    <a:srgbClr val="9394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50" autoAdjust="0"/>
    <p:restoredTop sz="71300" autoAdjust="0"/>
  </p:normalViewPr>
  <p:slideViewPr>
    <p:cSldViewPr snapToGrid="0" showGuides="1">
      <p:cViewPr varScale="1">
        <p:scale>
          <a:sx n="84" d="100"/>
          <a:sy n="84" d="100"/>
        </p:scale>
        <p:origin x="1590" y="84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3840"/>
        <p:guide pos="7469"/>
        <p:guide pos="304"/>
        <p:guide pos="7392"/>
        <p:guide pos="619"/>
        <p:guide pos="207"/>
        <p:guide pos="4001"/>
        <p:guide pos="7063"/>
        <p:guide pos="504"/>
        <p:guide pos="36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456"/>
    </p:cViewPr>
  </p:sorterViewPr>
  <p:notesViewPr>
    <p:cSldViewPr snapToGrid="0" showGuides="1">
      <p:cViewPr varScale="1">
        <p:scale>
          <a:sx n="85" d="100"/>
          <a:sy n="85" d="100"/>
        </p:scale>
        <p:origin x="2088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25/12/2017</a:t>
            </a:fld>
            <a:endParaRPr lang="fr-FR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25/1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93799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1_lab01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536663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pter</a:t>
            </a:r>
            <a:r>
              <a:rPr lang="fr-FR" baseline="0" dirty="0" smtClean="0"/>
              <a:t> le nombre </a:t>
            </a:r>
            <a:r>
              <a:rPr lang="fr-FR" baseline="0" dirty="0" err="1" smtClean="0"/>
              <a:t>d’object</a:t>
            </a:r>
            <a:r>
              <a:rPr lang="fr-FR" baseline="0" dirty="0" smtClean="0"/>
              <a:t> : 2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+ 3 </a:t>
            </a:r>
            <a:r>
              <a:rPr lang="fr-FR" baseline="0" dirty="0" err="1" smtClean="0"/>
              <a:t>tree</a:t>
            </a:r>
            <a:r>
              <a:rPr lang="fr-FR" baseline="0" dirty="0" smtClean="0"/>
              <a:t> + 3 blobs = 8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9452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Demo</a:t>
            </a:r>
            <a:r>
              <a:rPr lang="fr-FR" baseline="0" dirty="0" smtClean="0"/>
              <a:t> : </a:t>
            </a:r>
            <a:r>
              <a:rPr lang="fr-FR" baseline="0" dirty="0" err="1" smtClean="0"/>
              <a:t>a</a:t>
            </a:r>
            <a:r>
              <a:rPr lang="fr-FR" dirty="0" err="1" smtClean="0"/>
              <a:t>nnotated</a:t>
            </a:r>
            <a:r>
              <a:rPr lang="fr-FR" dirty="0" smtClean="0"/>
              <a:t> tag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26359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etour sur la structure : blob (données), </a:t>
            </a:r>
            <a:r>
              <a:rPr lang="fr-FR" dirty="0" err="1" smtClean="0"/>
              <a:t>tree</a:t>
            </a:r>
            <a:r>
              <a:rPr lang="fr-FR" dirty="0" smtClean="0"/>
              <a:t> (répertoire)</a:t>
            </a:r>
            <a:r>
              <a:rPr lang="fr-FR" baseline="0" dirty="0" smtClean="0"/>
              <a:t> récursifs, noms stockés dans les </a:t>
            </a:r>
            <a:r>
              <a:rPr lang="fr-FR" baseline="0" dirty="0" err="1" smtClean="0"/>
              <a:t>trees</a:t>
            </a:r>
            <a:r>
              <a:rPr lang="fr-FR" baseline="0" dirty="0" smtClean="0"/>
              <a:t>. Faire le lien avec un système de fichiers (Windows, Linux)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97310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But : aborder git comme plusieurs couches</a:t>
            </a:r>
            <a:r>
              <a:rPr lang="fr-FR" baseline="0" dirty="0" smtClean="0"/>
              <a:t> de fonctionnalités.</a:t>
            </a:r>
          </a:p>
          <a:p>
            <a:r>
              <a:rPr lang="fr-FR" baseline="0" dirty="0" smtClean="0"/>
              <a:t>Aborder les couches une par une, en commençant par la plus si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24036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éfinition </a:t>
            </a:r>
            <a:r>
              <a:rPr lang="fr-FR" dirty="0" err="1" smtClean="0"/>
              <a:t>Wikipedia</a:t>
            </a:r>
            <a:r>
              <a:rPr lang="fr-FR" dirty="0" smtClean="0"/>
              <a:t>.</a:t>
            </a:r>
          </a:p>
          <a:p>
            <a:r>
              <a:rPr lang="fr-FR" dirty="0" smtClean="0"/>
              <a:t>Il fait la même chose que les autres RCS, mais de façon distribuée.</a:t>
            </a:r>
          </a:p>
          <a:p>
            <a:r>
              <a:rPr lang="fr-FR" dirty="0" smtClean="0"/>
              <a:t>Plus</a:t>
            </a:r>
            <a:r>
              <a:rPr lang="fr-FR" baseline="0" dirty="0" smtClean="0"/>
              <a:t> difficile à appréhender que Subversion par ex, qui est client/serveur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147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Ça reste toutefois compliqué, puisqu’on a les concepts de branches,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erges</a:t>
            </a:r>
            <a:r>
              <a:rPr lang="fr-FR" baseline="0" dirty="0" smtClean="0"/>
              <a:t>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9025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n’a plus ici qu’un gestionnaire de contenu</a:t>
            </a:r>
            <a:r>
              <a:rPr lang="fr-FR" baseline="0" dirty="0" smtClean="0"/>
              <a:t> : fichiers, répertoires…</a:t>
            </a:r>
          </a:p>
          <a:p>
            <a:r>
              <a:rPr lang="fr-FR" baseline="0" dirty="0" smtClean="0"/>
              <a:t>C’est la définition de git dans la documentation officielle : un gestionnaire de conten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1383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oublie les notions de suivi, de</a:t>
            </a:r>
            <a:r>
              <a:rPr lang="fr-FR" baseline="0" dirty="0" smtClean="0"/>
              <a:t> commit, d’historique…</a:t>
            </a:r>
          </a:p>
          <a:p>
            <a:r>
              <a:rPr lang="fr-FR" baseline="0" dirty="0" smtClean="0"/>
              <a:t>Il nous reste un outil qui lie des clefs à des valeurs, de façon </a:t>
            </a:r>
            <a:r>
              <a:rPr lang="fr-FR" baseline="0" dirty="0" err="1" smtClean="0"/>
              <a:t>persistent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2568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SHA1</a:t>
            </a:r>
            <a:r>
              <a:rPr lang="fr-FR" baseline="0" dirty="0" smtClean="0"/>
              <a:t> : 20 bytes en hexa donc 40 nombres (digit) hexa</a:t>
            </a:r>
          </a:p>
          <a:p>
            <a:r>
              <a:rPr lang="fr-FR" baseline="0" dirty="0" err="1" smtClean="0"/>
              <a:t>Demo</a:t>
            </a:r>
            <a:r>
              <a:rPr lang="fr-FR" baseline="0" dirty="0" smtClean="0"/>
              <a:t> : git_module01_demo01</a:t>
            </a:r>
          </a:p>
          <a:p>
            <a:pPr marL="228600" indent="-228600">
              <a:buAutoNum type="arabicPeriod"/>
            </a:pP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76500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peut comparer les clefs</a:t>
            </a:r>
            <a:r>
              <a:rPr lang="fr-FR" baseline="0" dirty="0" smtClean="0"/>
              <a:t> de type SHA1 avec les GUID qui sont utilisés comme identifiants techniqu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67868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1_demo02</a:t>
            </a:r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4011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5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3784602" y="1104901"/>
            <a:ext cx="5631191" cy="4916387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9415803" y="1100208"/>
            <a:ext cx="762663" cy="4916387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36036124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55089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240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20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6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484632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982133" y="2224088"/>
            <a:ext cx="10229851" cy="3816350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45754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3525426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791279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6209533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963919" y="3902472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6342189" y="3902472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718066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23918" y="1570038"/>
            <a:ext cx="4788071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477433" y="2917203"/>
            <a:ext cx="3642784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6014134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312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4529613" y="1570038"/>
            <a:ext cx="312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8091984" y="1570038"/>
            <a:ext cx="312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76160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4547953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8090487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04904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809781" y="1570038"/>
            <a:ext cx="3402203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83638" y="1570038"/>
            <a:ext cx="5711383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5277957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728727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0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4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6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92757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723909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41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415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95467" y="2692170"/>
            <a:ext cx="9601132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644764" y="4742396"/>
            <a:ext cx="8195653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6442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5706533" y="692696"/>
            <a:ext cx="6028267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7581902" y="2276872"/>
            <a:ext cx="41529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8179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30685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211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528455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2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0" y="1563000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16" name="Connecteur droit 15"/>
          <p:cNvCxnSpPr/>
          <p:nvPr/>
        </p:nvCxnSpPr>
        <p:spPr>
          <a:xfrm>
            <a:off x="970262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68927" y="651448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z="800" smtClean="0"/>
              <a:pPr/>
              <a:t>‹#›</a:t>
            </a:fld>
            <a:r>
              <a:rPr lang="fr-FR" sz="800"/>
              <a:t>   |  </a:t>
            </a:r>
          </a:p>
        </p:txBody>
      </p:sp>
      <p:pic>
        <p:nvPicPr>
          <p:cNvPr id="1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4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99688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7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58" y="1562999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6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-100555" y="6512987"/>
            <a:ext cx="941684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54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7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6" y="1563001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3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7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203187" y="650876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0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85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85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</p:sldLayoutIdLst>
  <p:transition>
    <p:fade/>
  </p:transition>
  <p:hf hdr="0" ftr="0" dt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8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4.wdp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4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456FD7-BB91-4376-9F54-57A4192F7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ow Git </a:t>
            </a:r>
            <a:r>
              <a:rPr lang="fr-FR" dirty="0" err="1"/>
              <a:t>work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52C0768-302F-4A6A-A9FF-BED7B68BC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 not </a:t>
            </a:r>
            <a:r>
              <a:rPr lang="fr-FR" dirty="0" err="1"/>
              <a:t>what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th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24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Persistent Ma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1185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59A447FC-33B3-46B4-8460-A63ED4AF0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alues and Key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CF510EC-D710-4D00-93D5-3B1CF0B1EA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CED6746-9FE0-47A0-AC64-94ACD4CA9D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EE63CE2-3370-4E7E-829F-A328E84D4A66}"/>
              </a:ext>
            </a:extLst>
          </p:cNvPr>
          <p:cNvSpPr txBox="1"/>
          <p:nvPr/>
        </p:nvSpPr>
        <p:spPr>
          <a:xfrm>
            <a:off x="4277393" y="1876097"/>
            <a:ext cx="363721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 err="1">
                <a:latin typeface="Arial" pitchFamily="34" charset="0"/>
                <a:cs typeface="Arial" pitchFamily="34" charset="0"/>
              </a:rPr>
              <a:t>Any</a:t>
            </a:r>
            <a:r>
              <a:rPr lang="fr-FR" sz="2800" dirty="0">
                <a:latin typeface="Arial" pitchFamily="34" charset="0"/>
                <a:cs typeface="Arial" pitchFamily="34" charset="0"/>
              </a:rPr>
              <a:t> </a:t>
            </a:r>
            <a:r>
              <a:rPr lang="fr-FR" sz="2800" dirty="0" err="1">
                <a:latin typeface="Arial" pitchFamily="34" charset="0"/>
                <a:cs typeface="Arial" pitchFamily="34" charset="0"/>
              </a:rPr>
              <a:t>sequence</a:t>
            </a:r>
            <a:r>
              <a:rPr lang="fr-FR" sz="2800" dirty="0">
                <a:latin typeface="Arial" pitchFamily="34" charset="0"/>
                <a:cs typeface="Arial" pitchFamily="34" charset="0"/>
              </a:rPr>
              <a:t> of bytes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FDA2B1A-9AA0-454F-A0E4-EC959F9E90E9}"/>
              </a:ext>
            </a:extLst>
          </p:cNvPr>
          <p:cNvSpPr txBox="1"/>
          <p:nvPr/>
        </p:nvSpPr>
        <p:spPr>
          <a:xfrm>
            <a:off x="5187098" y="4992414"/>
            <a:ext cx="18178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SHA1 hash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75364A1D-8566-4378-9A03-9B7D8A84C805}"/>
              </a:ext>
            </a:extLst>
          </p:cNvPr>
          <p:cNvCxnSpPr>
            <a:cxnSpLocks/>
          </p:cNvCxnSpPr>
          <p:nvPr/>
        </p:nvCxnSpPr>
        <p:spPr>
          <a:xfrm>
            <a:off x="6096000" y="2522483"/>
            <a:ext cx="0" cy="2301766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4122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59A447FC-33B3-46B4-8460-A63ED4AF0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alues and Key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CF510EC-D710-4D00-93D5-3B1CF0B1EA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CED6746-9FE0-47A0-AC64-94ACD4CA9D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EE63CE2-3370-4E7E-829F-A328E84D4A66}"/>
              </a:ext>
            </a:extLst>
          </p:cNvPr>
          <p:cNvSpPr txBox="1"/>
          <p:nvPr/>
        </p:nvSpPr>
        <p:spPr>
          <a:xfrm>
            <a:off x="5198318" y="1876097"/>
            <a:ext cx="179536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"Apple Pie"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FDA2B1A-9AA0-454F-A0E4-EC959F9E90E9}"/>
              </a:ext>
            </a:extLst>
          </p:cNvPr>
          <p:cNvSpPr txBox="1"/>
          <p:nvPr/>
        </p:nvSpPr>
        <p:spPr>
          <a:xfrm>
            <a:off x="2170246" y="4992414"/>
            <a:ext cx="78515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23991897e13e47ed0adb91a0082c31c82fe0cbe5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75364A1D-8566-4378-9A03-9B7D8A84C805}"/>
              </a:ext>
            </a:extLst>
          </p:cNvPr>
          <p:cNvCxnSpPr>
            <a:cxnSpLocks/>
          </p:cNvCxnSpPr>
          <p:nvPr/>
        </p:nvCxnSpPr>
        <p:spPr>
          <a:xfrm>
            <a:off x="6096000" y="2522483"/>
            <a:ext cx="0" cy="2301766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ounded Rectangular Callout 1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9629948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y object in Git has its own SHA1.</a:t>
            </a:r>
            <a:br>
              <a:rPr lang="en-US" dirty="0"/>
            </a:br>
            <a:r>
              <a:rPr lang="en-US" dirty="0"/>
              <a:t>So, what if they collide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441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59A447FC-33B3-46B4-8460-A63ED4AF0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alues and Key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CF510EC-D710-4D00-93D5-3B1CF0B1EA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CED6746-9FE0-47A0-AC64-94ACD4CA9D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EE63CE2-3370-4E7E-829F-A328E84D4A66}"/>
              </a:ext>
            </a:extLst>
          </p:cNvPr>
          <p:cNvSpPr txBox="1"/>
          <p:nvPr/>
        </p:nvSpPr>
        <p:spPr>
          <a:xfrm>
            <a:off x="4125108" y="3213557"/>
            <a:ext cx="39417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1 chance in 175,000,000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13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1s are unique in the universe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9041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6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Persistent Ma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sp>
        <p:nvSpPr>
          <p:cNvPr id="9" name="Rounded Rectangular Callout 8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642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Stupid Content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sp>
        <p:nvSpPr>
          <p:cNvPr id="7" name="Rounded Rectangular Callout 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5388672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: Single Corner Snipped 53">
            <a:extLst>
              <a:ext uri="{FF2B5EF4-FFF2-40B4-BE49-F238E27FC236}">
                <a16:creationId xmlns:a16="http://schemas.microsoft.com/office/drawing/2014/main" xmlns="" id="{7A50EE12-18BC-43CD-9927-59B1DBE1FF93}"/>
              </a:ext>
            </a:extLst>
          </p:cNvPr>
          <p:cNvSpPr/>
          <p:nvPr/>
        </p:nvSpPr>
        <p:spPr>
          <a:xfrm>
            <a:off x="9335661" y="2071301"/>
            <a:ext cx="1324538" cy="1313274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ut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our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eipe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in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hi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irectory, one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per file.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Rectangle: Single Corner Snipped 54">
            <a:extLst>
              <a:ext uri="{FF2B5EF4-FFF2-40B4-BE49-F238E27FC236}">
                <a16:creationId xmlns:a16="http://schemas.microsoft.com/office/drawing/2014/main" xmlns="" id="{5DD2CB3A-1BD2-41AE-B00E-AF542B712862}"/>
              </a:ext>
            </a:extLst>
          </p:cNvPr>
          <p:cNvSpPr/>
          <p:nvPr/>
        </p:nvSpPr>
        <p:spPr>
          <a:xfrm>
            <a:off x="6726986" y="4477683"/>
            <a:ext cx="1045414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i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Object </a:t>
            </a:r>
            <a:r>
              <a:rPr lang="fr-FR" dirty="0" err="1"/>
              <a:t>Datab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8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A3A739BC-7FC3-41A9-BB1E-19B55BC9B39C}"/>
              </a:ext>
            </a:extLst>
          </p:cNvPr>
          <p:cNvSpPr txBox="1"/>
          <p:nvPr/>
        </p:nvSpPr>
        <p:spPr>
          <a:xfrm>
            <a:off x="1502635" y="4322902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xmlns="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xmlns="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8998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 animBg="1"/>
      <p:bldP spid="101" grpId="0" animBg="1"/>
      <p:bldP spid="60" grpId="0" animBg="1"/>
      <p:bldP spid="62" grpId="0"/>
      <p:bldP spid="63" grpId="0" animBg="1"/>
      <p:bldP spid="66" grpId="0"/>
      <p:bldP spid="94" grpId="0" animBg="1"/>
      <p:bldP spid="95" grpId="0"/>
      <p:bldP spid="102" grpId="0" animBg="1"/>
      <p:bldP spid="105" grpId="0" animBg="1"/>
      <p:bldP spid="106" grpId="0" animBg="1"/>
      <p:bldP spid="10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ectangle: Single Corner Snipped 39">
            <a:extLst>
              <a:ext uri="{FF2B5EF4-FFF2-40B4-BE49-F238E27FC236}">
                <a16:creationId xmlns:a16="http://schemas.microsoft.com/office/drawing/2014/main" xmlns="" id="{331B82C4-A8A8-4CAA-9AD1-5A2312BDD52B}"/>
              </a:ext>
            </a:extLst>
          </p:cNvPr>
          <p:cNvSpPr/>
          <p:nvPr/>
        </p:nvSpPr>
        <p:spPr>
          <a:xfrm>
            <a:off x="6704126" y="1554999"/>
            <a:ext cx="1324538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Pie</a:t>
            </a:r>
          </a:p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heesecak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Rectangle: Single Corner Snipped 53">
            <a:extLst>
              <a:ext uri="{FF2B5EF4-FFF2-40B4-BE49-F238E27FC236}">
                <a16:creationId xmlns:a16="http://schemas.microsoft.com/office/drawing/2014/main" xmlns="" id="{7A50EE12-18BC-43CD-9927-59B1DBE1FF93}"/>
              </a:ext>
            </a:extLst>
          </p:cNvPr>
          <p:cNvSpPr/>
          <p:nvPr/>
        </p:nvSpPr>
        <p:spPr>
          <a:xfrm>
            <a:off x="9335661" y="2071301"/>
            <a:ext cx="1324538" cy="1313274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ut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our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eipe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in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hi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irectory, one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per file.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Rectangle: Single Corner Snipped 54">
            <a:extLst>
              <a:ext uri="{FF2B5EF4-FFF2-40B4-BE49-F238E27FC236}">
                <a16:creationId xmlns:a16="http://schemas.microsoft.com/office/drawing/2014/main" xmlns="" id="{5DD2CB3A-1BD2-41AE-B00E-AF542B712862}"/>
              </a:ext>
            </a:extLst>
          </p:cNvPr>
          <p:cNvSpPr/>
          <p:nvPr/>
        </p:nvSpPr>
        <p:spPr>
          <a:xfrm>
            <a:off x="6726986" y="4477683"/>
            <a:ext cx="1045414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i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Git Object Mod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9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69435" y="313484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7709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9052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365600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6366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367709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6ee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57759" y="184019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78844" y="2337234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>
                <a:latin typeface="Consolas" panose="020B0609020204030204" pitchFamily="49" charset="0"/>
                <a:cs typeface="Consolas" panose="020B0609020204030204" pitchFamily="49" charset="0"/>
              </a:rPr>
              <a:t>f1fe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A3A739BC-7FC3-41A9-BB1E-19B55BC9B39C}"/>
              </a:ext>
            </a:extLst>
          </p:cNvPr>
          <p:cNvSpPr txBox="1"/>
          <p:nvPr/>
        </p:nvSpPr>
        <p:spPr>
          <a:xfrm>
            <a:off x="1502635" y="3044338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A3A739BC-7FC3-41A9-BB1E-19B55BC9B39C}"/>
              </a:ext>
            </a:extLst>
          </p:cNvPr>
          <p:cNvSpPr txBox="1"/>
          <p:nvPr/>
        </p:nvSpPr>
        <p:spPr>
          <a:xfrm>
            <a:off x="1502635" y="4322902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2160270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xmlns="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xmlns="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53330DED-8238-48AB-B79C-3155945E34EF}"/>
              </a:ext>
            </a:extLst>
          </p:cNvPr>
          <p:cNvSpPr txBox="1"/>
          <p:nvPr/>
        </p:nvSpPr>
        <p:spPr>
          <a:xfrm>
            <a:off x="4718497" y="3044337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166358" y="383124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ounded Rectangular Callout 42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17216" y="3085044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3608360" y="3084902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226BC8B6-2411-443E-BEE4-F24BDE166FA2}"/>
              </a:ext>
            </a:extLst>
          </p:cNvPr>
          <p:cNvSpPr txBox="1"/>
          <p:nvPr/>
        </p:nvSpPr>
        <p:spPr>
          <a:xfrm>
            <a:off x="4717045" y="2468125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06798" y="1789934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297841" y="3083323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3899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  <p:bldP spid="29" grpId="0" animBg="1"/>
      <p:bldP spid="34" grpId="0"/>
      <p:bldP spid="53" grpId="0" animBg="1"/>
      <p:bldP spid="59" grpId="0"/>
      <p:bldP spid="76" grpId="0" animBg="1"/>
      <p:bldP spid="77" grpId="0"/>
      <p:bldP spid="96" grpId="0" animBg="1"/>
      <p:bldP spid="108" grpId="0" animBg="1"/>
      <p:bldP spid="45" grpId="0" animBg="1"/>
      <p:bldP spid="45" grpId="1" animBg="1"/>
      <p:bldP spid="46" grpId="0" animBg="1"/>
      <p:bldP spid="46" grpId="1" animBg="1"/>
      <p:bldP spid="47" grpId="0" animBg="1"/>
      <p:bldP spid="48" grpId="0" animBg="1"/>
      <p:bldP spid="48" grpId="1" animBg="1"/>
      <p:bldP spid="49" grpId="0" animBg="1"/>
      <p:bldP spid="49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’re going to talk about the</a:t>
            </a:r>
            <a:br>
              <a:rPr lang="en-US" dirty="0"/>
            </a:br>
            <a:r>
              <a:rPr lang="en-US" dirty="0"/>
              <a:t>internals of </a:t>
            </a:r>
            <a:r>
              <a:rPr lang="en-US" dirty="0" err="1" smtClean="0"/>
              <a:t>Git</a:t>
            </a:r>
            <a:r>
              <a:rPr lang="en-US" dirty="0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7552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ectangle: Single Corner Snipped 39">
            <a:extLst>
              <a:ext uri="{FF2B5EF4-FFF2-40B4-BE49-F238E27FC236}">
                <a16:creationId xmlns:a16="http://schemas.microsoft.com/office/drawing/2014/main" xmlns="" id="{331B82C4-A8A8-4CAA-9AD1-5A2312BDD52B}"/>
              </a:ext>
            </a:extLst>
          </p:cNvPr>
          <p:cNvSpPr/>
          <p:nvPr/>
        </p:nvSpPr>
        <p:spPr>
          <a:xfrm>
            <a:off x="6704126" y="1554999"/>
            <a:ext cx="1324538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Pie</a:t>
            </a:r>
          </a:p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heesecak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Rectangle: Single Corner Snipped 53">
            <a:extLst>
              <a:ext uri="{FF2B5EF4-FFF2-40B4-BE49-F238E27FC236}">
                <a16:creationId xmlns:a16="http://schemas.microsoft.com/office/drawing/2014/main" xmlns="" id="{7A50EE12-18BC-43CD-9927-59B1DBE1FF93}"/>
              </a:ext>
            </a:extLst>
          </p:cNvPr>
          <p:cNvSpPr/>
          <p:nvPr/>
        </p:nvSpPr>
        <p:spPr>
          <a:xfrm>
            <a:off x="9335661" y="2071301"/>
            <a:ext cx="1324538" cy="1313274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ut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our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eipe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in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hi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irectory, one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per file.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Rectangle: Single Corner Snipped 54">
            <a:extLst>
              <a:ext uri="{FF2B5EF4-FFF2-40B4-BE49-F238E27FC236}">
                <a16:creationId xmlns:a16="http://schemas.microsoft.com/office/drawing/2014/main" xmlns="" id="{5DD2CB3A-1BD2-41AE-B00E-AF542B712862}"/>
              </a:ext>
            </a:extLst>
          </p:cNvPr>
          <p:cNvSpPr/>
          <p:nvPr/>
        </p:nvSpPr>
        <p:spPr>
          <a:xfrm>
            <a:off x="6726986" y="4477683"/>
            <a:ext cx="1045414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i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Git Object Mod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69435" y="313484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7709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9052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365600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6366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367709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6ee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82771" y="1856275"/>
            <a:ext cx="426379" cy="426379"/>
          </a:xfrm>
          <a:prstGeom prst="ellipse">
            <a:avLst/>
          </a:prstGeom>
          <a:solidFill>
            <a:srgbClr val="92D05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1005704" y="2337234"/>
            <a:ext cx="4969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ytag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204476" y="255267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57759" y="184019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78844" y="2337234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>
                <a:latin typeface="Consolas" panose="020B0609020204030204" pitchFamily="49" charset="0"/>
                <a:cs typeface="Consolas" panose="020B0609020204030204" pitchFamily="49" charset="0"/>
              </a:rPr>
              <a:t>f1fe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A3A739BC-7FC3-41A9-BB1E-19B55BC9B39C}"/>
              </a:ext>
            </a:extLst>
          </p:cNvPr>
          <p:cNvSpPr txBox="1"/>
          <p:nvPr/>
        </p:nvSpPr>
        <p:spPr>
          <a:xfrm>
            <a:off x="1502635" y="3044338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A3A739BC-7FC3-41A9-BB1E-19B55BC9B39C}"/>
              </a:ext>
            </a:extLst>
          </p:cNvPr>
          <p:cNvSpPr txBox="1"/>
          <p:nvPr/>
        </p:nvSpPr>
        <p:spPr>
          <a:xfrm>
            <a:off x="1502635" y="4322902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2160270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xmlns="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xmlns="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53330DED-8238-48AB-B79C-3155945E34EF}"/>
              </a:ext>
            </a:extLst>
          </p:cNvPr>
          <p:cNvSpPr txBox="1"/>
          <p:nvPr/>
        </p:nvSpPr>
        <p:spPr>
          <a:xfrm>
            <a:off x="4718497" y="3044337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166358" y="383124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ounded Rectangular Callout 42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226BC8B6-2411-443E-BEE4-F24BDE166FA2}"/>
              </a:ext>
            </a:extLst>
          </p:cNvPr>
          <p:cNvSpPr txBox="1"/>
          <p:nvPr/>
        </p:nvSpPr>
        <p:spPr>
          <a:xfrm>
            <a:off x="4717045" y="2468125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7816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70" grpId="0"/>
      <p:bldP spid="4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FBCD827-6230-4B56-A635-5E675B7172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Blob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 err="1"/>
              <a:t>Trees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Commit</a:t>
            </a:r>
            <a:r>
              <a:rPr lang="en-US" dirty="0"/>
              <a:t>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A</a:t>
            </a:r>
            <a:r>
              <a:rPr lang="en-US" dirty="0" err="1"/>
              <a:t>nnotated</a:t>
            </a:r>
            <a:r>
              <a:rPr lang="en-US" dirty="0"/>
              <a:t> Tags</a:t>
            </a:r>
            <a:endParaRPr lang="fr-F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8BFE033C-14B0-479B-8763-B7CFF7FFF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Object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DCC1874-0B80-4127-8266-1B045C3CA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996CBD5-7393-407C-BC99-C76D33D74A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4155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What</a:t>
            </a:r>
            <a:r>
              <a:rPr lang="fr-FR" dirty="0"/>
              <a:t> Git </a:t>
            </a:r>
            <a:r>
              <a:rPr lang="fr-FR" dirty="0" err="1"/>
              <a:t>Really</a:t>
            </a:r>
            <a:r>
              <a:rPr lang="fr-FR" dirty="0"/>
              <a:t> I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69435" y="313484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7709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9052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365600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6366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367709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6ee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57759" y="184019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78844" y="2337234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>
                <a:latin typeface="Consolas" panose="020B0609020204030204" pitchFamily="49" charset="0"/>
                <a:cs typeface="Consolas" panose="020B0609020204030204" pitchFamily="49" charset="0"/>
              </a:rPr>
              <a:t>f1fe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2160270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166358" y="383124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xmlns="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xmlns="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xmlns="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xmlns="" id="{53330DED-8238-48AB-B79C-3155945E34EF}"/>
              </a:ext>
            </a:extLst>
          </p:cNvPr>
          <p:cNvSpPr txBox="1"/>
          <p:nvPr/>
        </p:nvSpPr>
        <p:spPr>
          <a:xfrm>
            <a:off x="4718497" y="3044337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xmlns="" id="{226BC8B6-2411-443E-BEE4-F24BDE166FA2}"/>
              </a:ext>
            </a:extLst>
          </p:cNvPr>
          <p:cNvSpPr txBox="1"/>
          <p:nvPr/>
        </p:nvSpPr>
        <p:spPr>
          <a:xfrm>
            <a:off x="4717045" y="2468125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8791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29" grpId="1" animBg="1"/>
      <p:bldP spid="34" grpId="0"/>
      <p:bldP spid="34" grpId="1"/>
      <p:bldP spid="53" grpId="0" animBg="1"/>
      <p:bldP spid="53" grpId="1" animBg="1"/>
      <p:bldP spid="59" grpId="0"/>
      <p:bldP spid="59" grpId="1"/>
      <p:bldP spid="60" grpId="0" animBg="1"/>
      <p:bldP spid="60" grpId="1" animBg="1"/>
      <p:bldP spid="62" grpId="0"/>
      <p:bldP spid="62" grpId="1"/>
      <p:bldP spid="87" grpId="0" animBg="1"/>
      <p:bldP spid="87" grpId="1" animBg="1"/>
      <p:bldP spid="89" grpId="0"/>
      <p:bldP spid="89" grpId="1"/>
      <p:bldP spid="91" grpId="0" animBg="1"/>
      <p:bldP spid="91" grpId="1" animBg="1"/>
      <p:bldP spid="93" grpId="0"/>
      <p:bldP spid="93" grpId="1"/>
      <p:bldP spid="111" grpId="0" animBg="1"/>
      <p:bldP spid="111" grpId="1" animBg="1"/>
      <p:bldP spid="112" grpId="0" animBg="1"/>
      <p:bldP spid="112" grpId="1" animBg="1"/>
      <p:bldP spid="113" grpId="0" animBg="1"/>
      <p:bldP spid="113" grpId="1" animBg="1"/>
      <p:bldP spid="114" grpId="0" animBg="1"/>
      <p:bldP spid="114" grpId="1" animBg="1"/>
      <p:bldP spid="115" grpId="0" animBg="1"/>
      <p:bldP spid="115" grpId="1" animBg="1"/>
      <p:bldP spid="116" grpId="0" animBg="1"/>
      <p:bldP spid="116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Persistent Ma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173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Stupid Content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9475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4027774C-85B3-4216-BE8E-2076F29E4E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4612508" cy="4470401"/>
          </a:xfrm>
        </p:spPr>
        <p:txBody>
          <a:bodyPr numCol="1" spcCol="360000"/>
          <a:lstStyle/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init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/>
              <a:t>add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comm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</a:t>
            </a:r>
            <a:r>
              <a:rPr lang="fr-FR" dirty="0" err="1"/>
              <a:t>branch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</a:t>
            </a:r>
            <a:r>
              <a:rPr lang="fr-FR" dirty="0" err="1" smtClean="0"/>
              <a:t>checkout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status</a:t>
            </a:r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9C17F15E-A1DD-464A-AA9B-38A9BA78B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</a:t>
            </a:r>
            <a:r>
              <a:rPr lang="en-US" dirty="0" smtClean="0"/>
              <a:t>Porcelain / High Level” </a:t>
            </a:r>
            <a:r>
              <a:rPr lang="en-US" dirty="0"/>
              <a:t>Comman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3AFDCA3-1E95-4F76-9D6E-91F47D0134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4BFDC6A-5D6A-42B9-82C2-84BD9E5DCC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xmlns="" id="{4027774C-85B3-4216-BE8E-2076F29E4ECA}"/>
              </a:ext>
            </a:extLst>
          </p:cNvPr>
          <p:cNvSpPr txBox="1">
            <a:spLocks/>
          </p:cNvSpPr>
          <p:nvPr/>
        </p:nvSpPr>
        <p:spPr>
          <a:xfrm>
            <a:off x="6584659" y="1570042"/>
            <a:ext cx="4612508" cy="4470401"/>
          </a:xfrm>
          <a:prstGeom prst="rect">
            <a:avLst/>
          </a:prstGeom>
        </p:spPr>
        <p:txBody>
          <a:bodyPr vert="horz" lIns="0" tIns="0" rIns="0" bIns="0" numCol="1" spcCol="360000" rtlCol="0">
            <a:normAutofit/>
          </a:bodyPr>
          <a:lstStyle>
            <a:lvl1pPr marL="214313" indent="-214313" algn="l" defTabSz="342900" rtl="0" eaLnBrk="1" latinLnBrk="0" hangingPunct="1">
              <a:spcBef>
                <a:spcPct val="20000"/>
              </a:spcBef>
              <a:buSzPct val="120000"/>
              <a:buFontTx/>
              <a:buBlip>
                <a:blip r:embed="rId2"/>
              </a:buBlip>
              <a:defRPr sz="2400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  <a:defRPr sz="2000" b="1" kern="1200" baseline="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2pPr>
            <a:lvl3pPr marL="808435" indent="-122635" algn="l" defTabSz="342900" rtl="0" eaLnBrk="1" latinLnBrk="0" hangingPunct="1">
              <a:spcBef>
                <a:spcPct val="200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3pPr>
            <a:lvl4pPr marL="472679" indent="0" algn="l" defTabSz="3429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01266" indent="-128588" algn="l" defTabSz="3429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pul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pus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merge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rebase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…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77480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7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4027774C-85B3-4216-BE8E-2076F29E4E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4612508" cy="4470401"/>
          </a:xfrm>
        </p:spPr>
        <p:txBody>
          <a:bodyPr numCol="1" spcCol="360000"/>
          <a:lstStyle/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cat-fi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hash-</a:t>
            </a:r>
            <a:r>
              <a:rPr lang="fr-FR" dirty="0" err="1"/>
              <a:t>object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count-</a:t>
            </a:r>
            <a:r>
              <a:rPr lang="fr-FR" dirty="0" err="1"/>
              <a:t>objects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…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9C17F15E-A1DD-464A-AA9B-38A9BA78B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</a:t>
            </a:r>
            <a:r>
              <a:rPr lang="en-US" dirty="0" smtClean="0"/>
              <a:t>Plumbing / Low Level” </a:t>
            </a:r>
            <a:r>
              <a:rPr lang="en-US" dirty="0"/>
              <a:t>Comman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3AFDCA3-1E95-4F76-9D6E-91F47D0134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4BFDC6A-5D6A-42B9-82C2-84BD9E5DCC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xmlns="" id="{94435B3C-163F-4575-9C37-A9B599E644AB}"/>
              </a:ext>
            </a:extLst>
          </p:cNvPr>
          <p:cNvSpPr txBox="1">
            <a:spLocks/>
          </p:cNvSpPr>
          <p:nvPr/>
        </p:nvSpPr>
        <p:spPr>
          <a:xfrm>
            <a:off x="6584659" y="1570041"/>
            <a:ext cx="4612508" cy="4470401"/>
          </a:xfrm>
          <a:prstGeom prst="rect">
            <a:avLst/>
          </a:prstGeom>
        </p:spPr>
        <p:txBody>
          <a:bodyPr vert="horz" lIns="0" tIns="0" rIns="0" bIns="0" numCol="2" spcCol="360000" rtlCol="0">
            <a:normAutofit/>
          </a:bodyPr>
          <a:lstStyle>
            <a:lvl1pPr marL="214313" indent="-214313" algn="l" defTabSz="342900" rtl="0" eaLnBrk="1" latinLnBrk="0" hangingPunct="1">
              <a:spcBef>
                <a:spcPct val="20000"/>
              </a:spcBef>
              <a:buSzPct val="120000"/>
              <a:buFontTx/>
              <a:buBlip>
                <a:blip r:embed="rId2"/>
              </a:buBlip>
              <a:defRPr sz="2400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  <a:defRPr sz="2000" b="1" kern="1200" baseline="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2pPr>
            <a:lvl3pPr marL="808435" indent="-122635" algn="l" defTabSz="342900" rtl="0" eaLnBrk="1" latinLnBrk="0" hangingPunct="1">
              <a:spcBef>
                <a:spcPct val="200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3pPr>
            <a:lvl4pPr marL="472679" indent="0" algn="l" defTabSz="3429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01266" indent="-128588" algn="l" defTabSz="3429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9182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f you want to master Git, don’t worry</a:t>
            </a:r>
            <a:br>
              <a:rPr lang="en-US" dirty="0"/>
            </a:br>
            <a:r>
              <a:rPr lang="en-US" dirty="0"/>
              <a:t>about learning the commands.</a:t>
            </a:r>
            <a:br>
              <a:rPr lang="en-US" dirty="0"/>
            </a:br>
            <a:r>
              <a:rPr lang="en-US" dirty="0"/>
              <a:t>Instead, learn the </a:t>
            </a:r>
            <a:r>
              <a:rPr lang="en-US" dirty="0" smtClean="0"/>
              <a:t>model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94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 err="1" smtClean="0"/>
              <a:t>What</a:t>
            </a:r>
            <a:r>
              <a:rPr lang="fr-FR" sz="2400" dirty="0" smtClean="0"/>
              <a:t> Git </a:t>
            </a:r>
            <a:r>
              <a:rPr lang="fr-FR" sz="2400" dirty="0" err="1" smtClean="0"/>
              <a:t>is</a:t>
            </a:r>
            <a:r>
              <a:rPr lang="fr-FR" sz="2400" dirty="0" smtClean="0"/>
              <a:t>…</a:t>
            </a:r>
            <a:endParaRPr lang="fr-FR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fr-FR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2" t="6740" r="18506" b="22784"/>
          <a:stretch/>
        </p:blipFill>
        <p:spPr>
          <a:xfrm>
            <a:off x="3439885" y="2028190"/>
            <a:ext cx="5529943" cy="48332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325880" y="2778835"/>
            <a:ext cx="95699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5400" b="1" dirty="0" smtClean="0">
                <a:latin typeface="+mj-lt"/>
                <a:cs typeface="Arial" pitchFamily="34" charset="0"/>
              </a:rPr>
              <a:t>Git</a:t>
            </a:r>
            <a:endParaRPr lang="fr-FR" sz="1400" b="1" dirty="0" smtClean="0">
              <a:latin typeface="+mj-lt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E008011F-F481-44B1-A7AA-A403E3E4CC9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rcRect l="28313" t="9602" r="37795" b="19701"/>
          <a:stretch/>
        </p:blipFill>
        <p:spPr>
          <a:xfrm>
            <a:off x="6091133" y="1668780"/>
            <a:ext cx="1411834" cy="2205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75640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Distributed Revision Control Syste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E008011F-F481-44B1-A7AA-A403E3E4CC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5789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8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Revision Control Syste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62C63E2-C97A-4E3E-9C28-351D24FBB5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9490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9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Stupid Content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2825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05FBF254-8F43-482D-821C-8C7AD9F4E23B}"/>
    </a:ext>
  </a:extLst>
</a:theme>
</file>

<file path=ppt/theme/theme2.xml><?xml version="1.0" encoding="utf-8"?>
<a:theme xmlns:a="http://schemas.openxmlformats.org/drawingml/2006/main" name="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305F7EDD-1E22-425B-A5F5-CB47BB02F8B6}"/>
    </a:ext>
  </a:extLst>
</a:theme>
</file>

<file path=ppt/theme/theme3.xml><?xml version="1.0" encoding="utf-8"?>
<a:theme xmlns:a="http://schemas.openxmlformats.org/drawingml/2006/main" name="34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12C19D37-A4E2-4A9F-A560-D6D74DDF6A7A}"/>
    </a:ext>
  </a:extLst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F20084180B9E44AD928D9A8AB3689C" ma:contentTypeVersion="2" ma:contentTypeDescription="Create a new document." ma:contentTypeScope="" ma:versionID="5f842ce3792d2d894a82ea0e2dfb791b">
  <xsd:schema xmlns:xsd="http://www.w3.org/2001/XMLSchema" xmlns:xs="http://www.w3.org/2001/XMLSchema" xmlns:p="http://schemas.microsoft.com/office/2006/metadata/properties" xmlns:ns2="6e6f0a11-ea51-4914-9041-4a6fcd55b979" targetNamespace="http://schemas.microsoft.com/office/2006/metadata/properties" ma:root="true" ma:fieldsID="050a64bf2045351049015afff4474d6f" ns2:_="">
    <xsd:import namespace="6e6f0a11-ea51-4914-9041-4a6fcd55b97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6f0a11-ea51-4914-9041-4a6fcd55b9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028EF8-D63B-42F2-9729-538DFDBCE1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495F4B-BFDC-466D-9B0E-24D55C97E4DD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6e6f0a11-ea51-4914-9041-4a6fcd55b979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5946093-D9B3-4957-BB28-2A49A4F3A2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6f0a11-ea51-4914-9041-4a6fcd55b9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S</Template>
  <TotalTime>2126</TotalTime>
  <Words>602</Words>
  <Application>Microsoft Office PowerPoint</Application>
  <PresentationFormat>Widescreen</PresentationFormat>
  <Paragraphs>180</Paragraphs>
  <Slides>2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Lucida Grande</vt:lpstr>
      <vt:lpstr>Arial</vt:lpstr>
      <vt:lpstr>Century Gothic</vt:lpstr>
      <vt:lpstr>Consolas</vt:lpstr>
      <vt:lpstr>Wingdings</vt:lpstr>
      <vt:lpstr>template_PPT_AXA_EN</vt:lpstr>
      <vt:lpstr>1_template_PPT_AXA_EN</vt:lpstr>
      <vt:lpstr>34_template_PPT_AXA_EN</vt:lpstr>
      <vt:lpstr>Diapositive think-cell</vt:lpstr>
      <vt:lpstr>How Git works</vt:lpstr>
      <vt:lpstr>We’re going to talk about the internals of Git.</vt:lpstr>
      <vt:lpstr>“Porcelain / High Level” Commands</vt:lpstr>
      <vt:lpstr>“Plumbing / Low Level” Commands</vt:lpstr>
      <vt:lpstr>If you want to master Git, don’t worry about learning the commands. Instead, learn the model.</vt:lpstr>
      <vt:lpstr>What Git is…</vt:lpstr>
      <vt:lpstr>Git is…</vt:lpstr>
      <vt:lpstr>Git is…</vt:lpstr>
      <vt:lpstr>Git is…</vt:lpstr>
      <vt:lpstr>Git is…</vt:lpstr>
      <vt:lpstr>Values and Keys</vt:lpstr>
      <vt:lpstr>Values and Keys</vt:lpstr>
      <vt:lpstr>Every object in Git has its own SHA1. So, what if they collide?</vt:lpstr>
      <vt:lpstr>Values and Keys</vt:lpstr>
      <vt:lpstr>SHA1s are unique in the universe.</vt:lpstr>
      <vt:lpstr>Git is…</vt:lpstr>
      <vt:lpstr>Git is…</vt:lpstr>
      <vt:lpstr>The Object Database</vt:lpstr>
      <vt:lpstr>The Git Object Model</vt:lpstr>
      <vt:lpstr>The Git Object Model</vt:lpstr>
      <vt:lpstr>Git Objects</vt:lpstr>
      <vt:lpstr>What Git Really Is</vt:lpstr>
      <vt:lpstr>Git is…</vt:lpstr>
      <vt:lpstr>Git is…</vt:lpstr>
    </vt:vector>
  </TitlesOfParts>
  <Company>AX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Git works</dc:title>
  <dc:creator>THERY Dominique</dc:creator>
  <cp:lastModifiedBy>Dominique THERY</cp:lastModifiedBy>
  <cp:revision>39</cp:revision>
  <cp:lastPrinted>2014-10-09T09:53:38Z</cp:lastPrinted>
  <dcterms:created xsi:type="dcterms:W3CDTF">2017-12-19T13:40:50Z</dcterms:created>
  <dcterms:modified xsi:type="dcterms:W3CDTF">2017-12-25T17:0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448AA0A4CA40554EA1379C3E4816A205</vt:lpwstr>
  </property>
</Properties>
</file>